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4"/>
  </p:notesMasterIdLst>
  <p:sldIdLst>
    <p:sldId id="7093" r:id="rId2"/>
    <p:sldId id="7110" r:id="rId3"/>
    <p:sldId id="7165" r:id="rId4"/>
    <p:sldId id="7166" r:id="rId5"/>
    <p:sldId id="7167" r:id="rId6"/>
    <p:sldId id="7168" r:id="rId7"/>
    <p:sldId id="7170" r:id="rId8"/>
    <p:sldId id="7169" r:id="rId9"/>
    <p:sldId id="7171" r:id="rId10"/>
    <p:sldId id="7172" r:id="rId11"/>
    <p:sldId id="7173" r:id="rId12"/>
    <p:sldId id="7174" r:id="rId1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ao Paulo Figueira Marchesi" initials="JPFM" lastIdx="3" clrIdx="0">
    <p:extLst>
      <p:ext uri="{19B8F6BF-5375-455C-9EA6-DF929625EA0E}">
        <p15:presenceInfo xmlns:p15="http://schemas.microsoft.com/office/powerpoint/2012/main" userId="S::30249240@vli-logistica.com.br::c936ffd9-d25c-4934-999c-7cce2f0d75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8383"/>
    <a:srgbClr val="4A8522"/>
    <a:srgbClr val="D9D9D9"/>
    <a:srgbClr val="FFFFFF"/>
    <a:srgbClr val="E6E6E6"/>
    <a:srgbClr val="4D6B81"/>
    <a:srgbClr val="C55B15"/>
    <a:srgbClr val="D29500"/>
    <a:srgbClr val="1D4999"/>
    <a:srgbClr val="445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4C1A8A3-306A-4EB7-A6B1-4F7E0EB9C5D6}" styleName="Estilo Médio 3 - Ênfas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Estilo Claro 2 - Ênfas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854" autoAdjust="0"/>
    <p:restoredTop sz="93400" autoAdjust="0"/>
  </p:normalViewPr>
  <p:slideViewPr>
    <p:cSldViewPr snapToGrid="0">
      <p:cViewPr varScale="1">
        <p:scale>
          <a:sx n="79" d="100"/>
          <a:sy n="79" d="100"/>
        </p:scale>
        <p:origin x="9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DCA41D-F403-4530-BEB0-CB14F3A257C1}" type="datetimeFigureOut">
              <a:rPr lang="pt-BR" smtClean="0"/>
              <a:t>12/12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4C9FAD-2BC7-4F1D-A1BD-5D70FE76A9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37208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493407-0466-4D49-97E1-235DC8510143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88654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3215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3597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5849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8969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588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8055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08219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63917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9697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4C9FAD-2BC7-4F1D-A1BD-5D70FE76A95C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2575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Projeto Corredor Enxuto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D9466-5E2C-4009-B7F5-186A6D1DC0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39204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Projeto Corredor Enxuto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9D9466-5E2C-4009-B7F5-186A6D1DC0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007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lide 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3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2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6086" y="36513"/>
            <a:ext cx="8932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>
              <a:defRPr/>
            </a:pPr>
            <a:endParaRPr lang="en-US" sz="816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0961825" y="1980141"/>
            <a:ext cx="226985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5/01/2016 12:30 E. South America Standard Time</a:t>
            </a:r>
            <a:endParaRPr lang="en-US" sz="1632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11070829" y="4197880"/>
            <a:ext cx="205184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18/01/2016 11:29 E. South America Standard Time</a:t>
            </a:r>
            <a:endParaRPr lang="en-US" sz="1632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162986" y="26988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28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62984" y="542925"/>
            <a:ext cx="11724216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auto">
          <a:xfrm>
            <a:off x="162986" y="6199188"/>
            <a:ext cx="11628967" cy="525462"/>
            <a:chOff x="75" y="3827"/>
            <a:chExt cx="5385" cy="325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en-US" sz="1020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1976968" y="1071563"/>
            <a:ext cx="5799667" cy="596900"/>
            <a:chOff x="915" y="662"/>
            <a:chExt cx="2686" cy="368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837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>
                <a:defRPr/>
              </a:pPr>
              <a:r>
                <a:rPr lang="en-US" sz="1837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19" name="Source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03202" y="6272213"/>
            <a:ext cx="9150351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900">
                <a:solidFill>
                  <a:srgbClr val="000000"/>
                </a:solidFill>
              </a:rPr>
              <a:t>SOURCE: Source</a:t>
            </a:r>
          </a:p>
        </p:txBody>
      </p:sp>
      <p:sp>
        <p:nvSpPr>
          <p:cNvPr id="20" name="On-page tracker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03202" y="2698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12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21" name="Unit of measure" hidden="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03202" y="635000"/>
            <a:ext cx="4874684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400">
                <a:solidFill>
                  <a:srgbClr val="808080"/>
                </a:solidFill>
                <a:latin typeface="Arial" pitchFamily="34" charset="0"/>
                <a:cs typeface="Arial" panose="020B0604020202020204" pitchFamily="34" charset="0"/>
              </a:rPr>
              <a:t>Unit of measure</a:t>
            </a:r>
            <a:endParaRPr lang="pt-BR" sz="1400" dirty="0">
              <a:solidFill>
                <a:srgbClr val="808080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2" name="Footnote" hidden="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03201" y="6067425"/>
            <a:ext cx="11398251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90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1 xx</a:t>
            </a:r>
            <a:endParaRPr lang="pt-BR" sz="900" dirty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5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96131" y="683763"/>
            <a:ext cx="11894271" cy="5504316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40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28" name="Espaço Reservado para Rodapé 4">
            <a:extLst>
              <a:ext uri="{FF2B5EF4-FFF2-40B4-BE49-F238E27FC236}">
                <a16:creationId xmlns:a16="http://schemas.microsoft.com/office/drawing/2014/main" id="{2BC2F29B-BEA9-4589-8558-8B111BE738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6131" y="6355905"/>
            <a:ext cx="6739270" cy="36874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i="1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29" name="Espaço Reservado para Número de Slide 5">
            <a:extLst>
              <a:ext uri="{FF2B5EF4-FFF2-40B4-BE49-F238E27FC236}">
                <a16:creationId xmlns:a16="http://schemas.microsoft.com/office/drawing/2014/main" id="{0F5588DD-15E6-4179-9362-E623C116E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37202" y="6341171"/>
            <a:ext cx="1253200" cy="3687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9D9466-5E2C-4009-B7F5-186A6D1DC0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09864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704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pt-BR"/>
              <a:t>Projeto Corredor Enxut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9D9466-5E2C-4009-B7F5-186A6D1DC0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1043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74" r:id="rId3"/>
    <p:sldLayoutId id="214748367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m 27">
            <a:extLst>
              <a:ext uri="{FF2B5EF4-FFF2-40B4-BE49-F238E27FC236}">
                <a16:creationId xmlns:a16="http://schemas.microsoft.com/office/drawing/2014/main" id="{ABAB5A3E-8FAE-4800-B8DC-392D71B490A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287" y="-1555"/>
            <a:ext cx="5217177" cy="6857999"/>
          </a:xfrm>
          <a:prstGeom prst="rect">
            <a:avLst/>
          </a:prstGeom>
        </p:spPr>
      </p:pic>
      <p:sp>
        <p:nvSpPr>
          <p:cNvPr id="29" name="Retângulo 14">
            <a:extLst>
              <a:ext uri="{FF2B5EF4-FFF2-40B4-BE49-F238E27FC236}">
                <a16:creationId xmlns:a16="http://schemas.microsoft.com/office/drawing/2014/main" id="{2D9E30B5-CEB2-4B0E-86BE-CB0D4E1A4597}"/>
              </a:ext>
            </a:extLst>
          </p:cNvPr>
          <p:cNvSpPr/>
          <p:nvPr/>
        </p:nvSpPr>
        <p:spPr>
          <a:xfrm>
            <a:off x="1607137" y="4063062"/>
            <a:ext cx="4445960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pt-BR" sz="4000" b="1" dirty="0" smtClean="0">
                <a:solidFill>
                  <a:prstClr val="white"/>
                </a:solidFill>
                <a:latin typeface="+mj-lt"/>
              </a:rPr>
              <a:t>CRM </a:t>
            </a:r>
            <a:r>
              <a:rPr lang="pt-BR" sz="4000" b="1" dirty="0" err="1" smtClean="0">
                <a:solidFill>
                  <a:prstClr val="white"/>
                </a:solidFill>
                <a:latin typeface="+mj-lt"/>
              </a:rPr>
              <a:t>Analysis</a:t>
            </a:r>
            <a:r>
              <a:rPr kumimoji="0" lang="pt-BR" sz="3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/>
            </a:r>
            <a:br>
              <a:rPr kumimoji="0" lang="pt-BR" sz="3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</a:br>
            <a:r>
              <a:rPr lang="pt-BR" sz="1600" dirty="0" smtClean="0">
                <a:solidFill>
                  <a:prstClr val="white"/>
                </a:solidFill>
                <a:latin typeface="+mj-lt"/>
                <a:cs typeface="Arial" panose="020B0604020202020204" pitchFamily="34" charset="0"/>
              </a:rPr>
              <a:t>Janaina Figueira Marchesi</a:t>
            </a:r>
            <a:endParaRPr lang="pt-BR" sz="1600" dirty="0">
              <a:solidFill>
                <a:prstClr val="white"/>
              </a:solidFill>
              <a:latin typeface="+mj-lt"/>
              <a:cs typeface="Arial" panose="020B0604020202020204" pitchFamily="34" charset="0"/>
            </a:endParaRPr>
          </a:p>
          <a:p>
            <a:pPr lvl="0"/>
            <a:r>
              <a:rPr lang="pt-BR" sz="1600" noProof="0" dirty="0" smtClean="0">
                <a:solidFill>
                  <a:prstClr val="white"/>
                </a:solidFill>
                <a:latin typeface="+mj-lt"/>
                <a:cs typeface="Arial" panose="020B0604020202020204" pitchFamily="34" charset="0"/>
              </a:rPr>
              <a:t>12/12/2020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201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628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>
            <a:extLst>
              <a:ext uri="{FF2B5EF4-FFF2-40B4-BE49-F238E27FC236}">
                <a16:creationId xmlns:a16="http://schemas.microsoft.com/office/drawing/2014/main" id="{3950D284-CC9A-4AB2-916A-A6C561CD6D73}"/>
              </a:ext>
            </a:extLst>
          </p:cNvPr>
          <p:cNvSpPr/>
          <p:nvPr/>
        </p:nvSpPr>
        <p:spPr>
          <a:xfrm>
            <a:off x="0" y="4232366"/>
            <a:ext cx="12222878" cy="26370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+mj-lt"/>
            </a:endParaRP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10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013807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edictive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lassification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odel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pic>
        <p:nvPicPr>
          <p:cNvPr id="2" name="Imagem 1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609" y="1479891"/>
            <a:ext cx="720000" cy="720000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565898" y="1700090"/>
            <a:ext cx="2248644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lassification Technique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849" y="1479891"/>
            <a:ext cx="720000" cy="720000"/>
          </a:xfrm>
          <a:prstGeom prst="rect">
            <a:avLst/>
          </a:prstGeom>
        </p:spPr>
      </p:pic>
      <p:sp>
        <p:nvSpPr>
          <p:cNvPr id="17" name="Retângulo 1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454160" y="1693764"/>
            <a:ext cx="2248644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alancing Technique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371" y="1473565"/>
            <a:ext cx="720000" cy="720000"/>
          </a:xfrm>
          <a:prstGeom prst="rect">
            <a:avLst/>
          </a:prstGeom>
        </p:spPr>
      </p:pic>
      <p:sp>
        <p:nvSpPr>
          <p:cNvPr id="21" name="Retângulo 2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102371" y="1693764"/>
            <a:ext cx="2248644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ross</a:t>
            </a:r>
          </a:p>
          <a:p>
            <a:r>
              <a:rPr lang="pt-BR" sz="24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Validation</a:t>
            </a:r>
            <a:endParaRPr lang="en-US" sz="24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565899" y="2360388"/>
            <a:ext cx="2248643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ogistic Regression</a:t>
            </a:r>
          </a:p>
          <a:p>
            <a:endParaRPr lang="pt-BR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aïve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ayes</a:t>
            </a:r>
            <a:endParaRPr lang="en-US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315849" y="2360388"/>
            <a:ext cx="2248643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ownsampling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endParaRPr lang="pt-BR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Upsampling</a:t>
            </a:r>
            <a:endParaRPr lang="en-US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102371" y="2482004"/>
            <a:ext cx="2248643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K-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old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ross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validation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with k = 10</a:t>
            </a:r>
          </a:p>
          <a:p>
            <a:endParaRPr lang="pt-BR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5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petitions</a:t>
            </a:r>
            <a:endParaRPr lang="pt-BR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33" name="Tabela 32">
            <a:extLst>
              <a:ext uri="{FF2B5EF4-FFF2-40B4-BE49-F238E27FC236}">
                <a16:creationId xmlns:a16="http://schemas.microsoft.com/office/drawing/2014/main" id="{4980507A-E8A4-490E-8588-1F4545ABDC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313436"/>
              </p:ext>
            </p:extLst>
          </p:nvPr>
        </p:nvGraphicFramePr>
        <p:xfrm>
          <a:off x="381180" y="4702591"/>
          <a:ext cx="4574669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4669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etric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sed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hose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est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odel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etângulo 10"/>
              <p:cNvSpPr/>
              <p:nvPr/>
            </p:nvSpPr>
            <p:spPr>
              <a:xfrm>
                <a:off x="3420283" y="5590612"/>
                <a:ext cx="4551438" cy="6109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i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𝐴𝑐𝑐𝑢𝑟𝑎𝑐𝑦</m:t>
                      </m:r>
                      <m:r>
                        <a:rPr lang="pt-BR" i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𝑟𝑢𝑒</m:t>
                          </m:r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𝑃𝑜𝑠𝑖𝑡𝑒</m:t>
                          </m:r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𝑟𝑢𝑒</m:t>
                          </m:r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𝑁𝑒𝑔𝑎𝑡𝑖𝑣𝑒</m:t>
                          </m:r>
                        </m:num>
                        <m:den>
                          <m:r>
                            <a:rPr lang="pt-BR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𝑜𝑡𝑎𝑙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1" name="Retângulo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0283" y="5590612"/>
                <a:ext cx="4551438" cy="61093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88126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>
            <a:extLst>
              <a:ext uri="{FF2B5EF4-FFF2-40B4-BE49-F238E27FC236}">
                <a16:creationId xmlns:a16="http://schemas.microsoft.com/office/drawing/2014/main" id="{3950D284-CC9A-4AB2-916A-A6C561CD6D73}"/>
              </a:ext>
            </a:extLst>
          </p:cNvPr>
          <p:cNvSpPr/>
          <p:nvPr/>
        </p:nvSpPr>
        <p:spPr>
          <a:xfrm>
            <a:off x="-30878" y="2497518"/>
            <a:ext cx="12222878" cy="43620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+mj-lt"/>
            </a:endParaRP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11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edictive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lassification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odel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graphicFrame>
        <p:nvGraphicFramePr>
          <p:cNvPr id="33" name="Tabela 32">
            <a:extLst>
              <a:ext uri="{FF2B5EF4-FFF2-40B4-BE49-F238E27FC236}">
                <a16:creationId xmlns:a16="http://schemas.microsoft.com/office/drawing/2014/main" id="{4980507A-E8A4-490E-8588-1F4545ABDC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773688"/>
              </p:ext>
            </p:extLst>
          </p:nvPr>
        </p:nvGraphicFramePr>
        <p:xfrm>
          <a:off x="351997" y="2805681"/>
          <a:ext cx="4574669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4669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Final </a:t>
                      </a:r>
                      <a:r>
                        <a:rPr lang="pt-BR" sz="1800" b="1" kern="1200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odel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pic>
        <p:nvPicPr>
          <p:cNvPr id="18" name="Imagem 17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1921" y="996160"/>
            <a:ext cx="360000" cy="360000"/>
          </a:xfrm>
          <a:prstGeom prst="rect">
            <a:avLst/>
          </a:prstGeom>
        </p:spPr>
      </p:pic>
      <p:sp>
        <p:nvSpPr>
          <p:cNvPr id="27" name="Retângulo 2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529446" y="1304513"/>
            <a:ext cx="2827061" cy="75354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f Accuracy </a:t>
            </a:r>
          </a:p>
          <a:p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or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ogistic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gression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odel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without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alacing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echnique</a:t>
            </a:r>
            <a:endParaRPr lang="en-US" sz="16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2531921" y="865054"/>
            <a:ext cx="86914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88% </a:t>
            </a:r>
            <a:endParaRPr lang="en-US" sz="2800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679" y="1238516"/>
            <a:ext cx="442770" cy="442770"/>
          </a:xfrm>
          <a:prstGeom prst="rect">
            <a:avLst/>
          </a:prstGeom>
        </p:spPr>
      </p:pic>
      <p:sp>
        <p:nvSpPr>
          <p:cNvPr id="30" name="Retângulo 2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6935401" y="1083128"/>
            <a:ext cx="2827061" cy="75354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8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hosen</a:t>
            </a:r>
            <a:r>
              <a:rPr lang="pt-BR" sz="28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28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odel</a:t>
            </a:r>
            <a:endParaRPr lang="en-US" sz="28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1629" y="3331978"/>
            <a:ext cx="11146097" cy="216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pt-BR" sz="1600" b="1" i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ediction</a:t>
            </a:r>
            <a:r>
              <a:rPr lang="pt-BR" sz="1600" b="1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= 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</a:t>
            </a:r>
            <a:r>
              <a:rPr lang="pt-BR" sz="1600" i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E+1 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2E-2 x Age+ 1E+0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ducationBasic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6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ducationGraduation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1E+0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ducationMaster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2E+0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ducationPhD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1E+0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ital_StatusMarried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2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ital_StatusOther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1E-2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ital_StatusSingle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1E+0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ital_StatusTogether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7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ital_StatusWidow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6E-7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ome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5E-3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imeEnrollment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7E-1 x Kidhome1+ 1E+1 x Kidhome2+ 1E+0 x Teenhome1+ 1E+0 x Teenhome2+ 3E-2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cency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8E-4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ntWine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6E-3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ntFruit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2E-3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ntMeatProduct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3E-3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ntFishProduct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1E-5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ntSweetProduct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4E-3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ntGoldProd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1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umDealsPurchase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7E-2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umWebPurchase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7E-2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umCatalogPurchase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2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umStorePurchases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5E-2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umWebVisitsMonth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- 2E+0 x AcceptedCmp1Sim- 2E+0 x AcceptedCmp2Sim- 2E+0 x AcceptedCmp3Sim- 1E+0 x AcceptedCmp4Sim- 2E+0 x AcceptedCmp5Sim- 5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omeCmpSim</a:t>
            </a:r>
            <a:r>
              <a:rPr lang="pt-BR" sz="1600" i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+ 2E-1 x </a:t>
            </a:r>
            <a:r>
              <a:rPr lang="pt-BR" sz="1600" i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mplainSim</a:t>
            </a:r>
            <a:endParaRPr lang="en-US" sz="1600" i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1630" y="5326700"/>
            <a:ext cx="11146097" cy="72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4000"/>
              </a:lnSpc>
            </a:pPr>
            <a:r>
              <a:rPr lang="pt-BR" sz="1600" b="1" i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bability</a:t>
            </a:r>
            <a:r>
              <a:rPr lang="pt-BR" sz="1600" b="1" i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= </a:t>
            </a:r>
            <a:r>
              <a:rPr lang="pt-BR" sz="1600" i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^Prediction</a:t>
            </a:r>
            <a:r>
              <a:rPr lang="pt-BR" sz="1600" i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/ (1 + </a:t>
            </a:r>
            <a:r>
              <a:rPr lang="pt-BR" sz="1600" i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^Predicition</a:t>
            </a:r>
            <a:r>
              <a:rPr lang="pt-BR" sz="1600" i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)</a:t>
            </a:r>
            <a:endParaRPr lang="en-US" sz="1600" i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5" name="Retângulo: Cantos Diagonais Arredondados 5">
            <a:extLst>
              <a:ext uri="{FF2B5EF4-FFF2-40B4-BE49-F238E27FC236}">
                <a16:creationId xmlns:a16="http://schemas.microsoft.com/office/drawing/2014/main" id="{975CEB12-3B5C-4303-89BD-46A8FAECD78C}"/>
              </a:ext>
            </a:extLst>
          </p:cNvPr>
          <p:cNvSpPr/>
          <p:nvPr/>
        </p:nvSpPr>
        <p:spPr>
          <a:xfrm>
            <a:off x="4822236" y="5617374"/>
            <a:ext cx="2340174" cy="983848"/>
          </a:xfrm>
          <a:prstGeom prst="round2DiagRect">
            <a:avLst/>
          </a:prstGeom>
          <a:solidFill>
            <a:schemeClr val="bg1"/>
          </a:solidFill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Probability</a:t>
            </a:r>
            <a:r>
              <a:rPr lang="pt-BR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&gt; 0.5 </a:t>
            </a:r>
          </a:p>
          <a:p>
            <a:pPr algn="ctr"/>
            <a:r>
              <a:rPr lang="pt-BR" b="1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Accepted</a:t>
            </a:r>
            <a:r>
              <a:rPr lang="pt-BR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BR" b="1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the</a:t>
            </a:r>
            <a:r>
              <a:rPr lang="pt-BR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BR" b="1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offer</a:t>
            </a:r>
            <a:endParaRPr lang="pt-BR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54030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1" grpId="0"/>
      <p:bldP spid="32" grpId="0"/>
      <p:bldP spid="3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12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501457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Next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teps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sp>
        <p:nvSpPr>
          <p:cNvPr id="22" name="Retângulo 2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96131" y="1300072"/>
            <a:ext cx="8677326" cy="108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Apply the final model to the rest of the customers base</a:t>
            </a:r>
          </a:p>
          <a:p>
            <a:endParaRPr lang="pt-BR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dentify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 customers with the greatest potential to accept the offer in the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ampaign</a:t>
            </a:r>
          </a:p>
          <a:p>
            <a:endParaRPr lang="pt-BR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reate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duct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commendation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trategies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for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mising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</a:t>
            </a:r>
            <a:endParaRPr lang="pt-BR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endParaRPr lang="pt-BR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reate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tention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trategies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for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lipping</a:t>
            </a:r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</a:t>
            </a:r>
            <a:endParaRPr lang="en-US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etângulo: Cantos Diagonais Arredondados 8">
            <a:extLst>
              <a:ext uri="{FF2B5EF4-FFF2-40B4-BE49-F238E27FC236}">
                <a16:creationId xmlns:a16="http://schemas.microsoft.com/office/drawing/2014/main" id="{B0FBF965-7D9D-407C-BC00-3F0A861E1C83}"/>
              </a:ext>
            </a:extLst>
          </p:cNvPr>
          <p:cNvSpPr/>
          <p:nvPr/>
        </p:nvSpPr>
        <p:spPr>
          <a:xfrm>
            <a:off x="1404823" y="3786103"/>
            <a:ext cx="12384483" cy="2197855"/>
          </a:xfrm>
          <a:prstGeom prst="round2DiagRect">
            <a:avLst/>
          </a:prstGeom>
          <a:solidFill>
            <a:srgbClr val="4D6B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9">
            <a:extLst>
              <a:ext uri="{FF2B5EF4-FFF2-40B4-BE49-F238E27FC236}">
                <a16:creationId xmlns:a16="http://schemas.microsoft.com/office/drawing/2014/main" id="{7D663F37-E1F8-41EF-ADBA-F8C51FF31AE9}"/>
              </a:ext>
            </a:extLst>
          </p:cNvPr>
          <p:cNvSpPr txBox="1"/>
          <p:nvPr/>
        </p:nvSpPr>
        <p:spPr>
          <a:xfrm>
            <a:off x="1761986" y="4164873"/>
            <a:ext cx="53042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800"/>
              </a:lnSpc>
            </a:pPr>
            <a:r>
              <a:rPr lang="pt-BR" sz="4800" b="1" spc="-3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</a:t>
            </a:r>
            <a:r>
              <a:rPr lang="pt-BR" sz="4800" b="1" spc="-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4800" b="1" spc="-3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pt-BR" sz="4800" b="1" spc="-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pt-BR" sz="48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4800"/>
              </a:lnSpc>
            </a:pPr>
            <a:endParaRPr lang="pt-BR" sz="14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32">
            <a:extLst>
              <a:ext uri="{FF2B5EF4-FFF2-40B4-BE49-F238E27FC236}">
                <a16:creationId xmlns:a16="http://schemas.microsoft.com/office/drawing/2014/main" id="{412A7197-165E-4213-8428-4B693CDB9439}"/>
              </a:ext>
            </a:extLst>
          </p:cNvPr>
          <p:cNvSpPr txBox="1"/>
          <p:nvPr/>
        </p:nvSpPr>
        <p:spPr>
          <a:xfrm>
            <a:off x="1761986" y="4848616"/>
            <a:ext cx="67160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ts val="3000"/>
              </a:lnSpc>
              <a:defRPr sz="2400" b="1">
                <a:solidFill>
                  <a:srgbClr val="DE6C2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600" dirty="0" smtClean="0">
                <a:solidFill>
                  <a:schemeClr val="bg1"/>
                </a:solidFill>
              </a:rPr>
              <a:t>Janaina Figueira </a:t>
            </a:r>
            <a:r>
              <a:rPr lang="pt-BR" sz="1600" dirty="0">
                <a:solidFill>
                  <a:schemeClr val="bg1"/>
                </a:solidFill>
              </a:rPr>
              <a:t>Marchesi</a:t>
            </a:r>
          </a:p>
          <a:p>
            <a:pPr>
              <a:lnSpc>
                <a:spcPct val="100000"/>
              </a:lnSpc>
            </a:pPr>
            <a:r>
              <a:rPr lang="pt-BR" sz="1600" dirty="0" smtClean="0">
                <a:solidFill>
                  <a:schemeClr val="bg1"/>
                </a:solidFill>
              </a:rPr>
              <a:t>janainamarchesi@gmail.com</a:t>
            </a:r>
            <a:endParaRPr lang="pt-BR" sz="16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</a:pPr>
            <a:r>
              <a:rPr lang="pt-BR" sz="1600" dirty="0" smtClean="0">
                <a:solidFill>
                  <a:schemeClr val="bg1"/>
                </a:solidFill>
              </a:rPr>
              <a:t>27 99826-1648</a:t>
            </a:r>
            <a:endParaRPr lang="pt-B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14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2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tângulo 36">
            <a:extLst>
              <a:ext uri="{FF2B5EF4-FFF2-40B4-BE49-F238E27FC236}">
                <a16:creationId xmlns:a16="http://schemas.microsoft.com/office/drawing/2014/main" id="{0D969CB4-9832-44CF-AA95-155B8E111431}"/>
              </a:ext>
            </a:extLst>
          </p:cNvPr>
          <p:cNvSpPr/>
          <p:nvPr/>
        </p:nvSpPr>
        <p:spPr>
          <a:xfrm>
            <a:off x="0" y="3571900"/>
            <a:ext cx="12222878" cy="32860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/>
              <a:t>2</a:t>
            </a:fld>
            <a:endParaRPr lang="pt-BR"/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610136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ontextualization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grpSp>
        <p:nvGrpSpPr>
          <p:cNvPr id="45" name="Agrupar 44"/>
          <p:cNvGrpSpPr/>
          <p:nvPr/>
        </p:nvGrpSpPr>
        <p:grpSpPr>
          <a:xfrm>
            <a:off x="657046" y="1182394"/>
            <a:ext cx="10877909" cy="1517726"/>
            <a:chOff x="649031" y="1182394"/>
            <a:chExt cx="10877909" cy="1517726"/>
          </a:xfrm>
        </p:grpSpPr>
        <p:cxnSp>
          <p:nvCxnSpPr>
            <p:cNvPr id="9" name="Conector de Seta Reta 8"/>
            <p:cNvCxnSpPr/>
            <p:nvPr/>
          </p:nvCxnSpPr>
          <p:spPr>
            <a:xfrm flipV="1">
              <a:off x="6025403" y="1891553"/>
              <a:ext cx="4545106" cy="8965"/>
            </a:xfrm>
            <a:prstGeom prst="straightConnector1">
              <a:avLst/>
            </a:prstGeom>
            <a:ln w="571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de Seta Reta 40"/>
            <p:cNvCxnSpPr/>
            <p:nvPr/>
          </p:nvCxnSpPr>
          <p:spPr>
            <a:xfrm flipH="1">
              <a:off x="1480297" y="1900518"/>
              <a:ext cx="4545106" cy="14735"/>
            </a:xfrm>
            <a:prstGeom prst="straightConnector1">
              <a:avLst/>
            </a:prstGeom>
            <a:ln w="57150">
              <a:solidFill>
                <a:schemeClr val="accent6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Imagem 32"/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4247" y="1234506"/>
              <a:ext cx="642312" cy="642312"/>
            </a:xfrm>
            <a:prstGeom prst="rect">
              <a:avLst/>
            </a:prstGeom>
          </p:spPr>
        </p:pic>
        <p:sp>
          <p:nvSpPr>
            <p:cNvPr id="35" name="CaixaDeTexto 34"/>
            <p:cNvSpPr txBox="1"/>
            <p:nvPr/>
          </p:nvSpPr>
          <p:spPr>
            <a:xfrm>
              <a:off x="649031" y="1638291"/>
              <a:ext cx="995082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lnSpc>
                  <a:spcPts val="3000"/>
                </a:lnSpc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r>
                <a:rPr lang="pt-BR" dirty="0"/>
                <a:t>- 3 </a:t>
              </a:r>
              <a:r>
                <a:rPr lang="pt-BR" dirty="0" err="1"/>
                <a:t>years</a:t>
              </a:r>
              <a:endParaRPr lang="en-US" dirty="0"/>
            </a:p>
          </p:txBody>
        </p:sp>
        <p:sp>
          <p:nvSpPr>
            <p:cNvPr id="46" name="CaixaDeTexto 45"/>
            <p:cNvSpPr txBox="1"/>
            <p:nvPr/>
          </p:nvSpPr>
          <p:spPr>
            <a:xfrm>
              <a:off x="10469105" y="1638291"/>
              <a:ext cx="1057835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lnSpc>
                  <a:spcPts val="3000"/>
                </a:lnSpc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pt-BR" dirty="0"/>
                <a:t>+ 3 </a:t>
              </a:r>
              <a:r>
                <a:rPr lang="pt-BR" dirty="0" err="1"/>
                <a:t>years</a:t>
              </a:r>
              <a:endParaRPr lang="en-US" dirty="0"/>
            </a:p>
          </p:txBody>
        </p:sp>
        <p:sp>
          <p:nvSpPr>
            <p:cNvPr id="48" name="CaixaDeTexto 47"/>
            <p:cNvSpPr txBox="1"/>
            <p:nvPr/>
          </p:nvSpPr>
          <p:spPr>
            <a:xfrm>
              <a:off x="2384495" y="1182394"/>
              <a:ext cx="251695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lnSpc>
                  <a:spcPts val="3000"/>
                </a:lnSpc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dirty="0" smtClean="0"/>
                <a:t>Solid </a:t>
              </a:r>
              <a:r>
                <a:rPr lang="en-US" sz="1600" dirty="0"/>
                <a:t>revenues and healthy bottom line</a:t>
              </a:r>
            </a:p>
          </p:txBody>
        </p:sp>
        <p:sp>
          <p:nvSpPr>
            <p:cNvPr id="49" name="CaixaDeTexto 48"/>
            <p:cNvSpPr txBox="1"/>
            <p:nvPr/>
          </p:nvSpPr>
          <p:spPr>
            <a:xfrm>
              <a:off x="7152762" y="2115345"/>
              <a:ext cx="251695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lnSpc>
                  <a:spcPts val="3000"/>
                </a:lnSpc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dirty="0" smtClean="0"/>
                <a:t>Not promising perspectives for profit growth</a:t>
              </a:r>
              <a:endParaRPr lang="en-US" sz="1600" dirty="0"/>
            </a:p>
          </p:txBody>
        </p:sp>
        <p:pic>
          <p:nvPicPr>
            <p:cNvPr id="43" name="Imagem 42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5115" y="2227732"/>
              <a:ext cx="360000" cy="360000"/>
            </a:xfrm>
            <a:prstGeom prst="rect">
              <a:avLst/>
            </a:prstGeom>
          </p:spPr>
        </p:pic>
        <p:pic>
          <p:nvPicPr>
            <p:cNvPr id="44" name="Imagem 43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3169" y="1270455"/>
              <a:ext cx="360000" cy="360000"/>
            </a:xfrm>
            <a:prstGeom prst="rect">
              <a:avLst/>
            </a:prstGeom>
          </p:spPr>
        </p:pic>
      </p:grpSp>
      <p:sp>
        <p:nvSpPr>
          <p:cNvPr id="54" name="TextBox 32">
            <a:extLst>
              <a:ext uri="{FF2B5EF4-FFF2-40B4-BE49-F238E27FC236}">
                <a16:creationId xmlns:a16="http://schemas.microsoft.com/office/drawing/2014/main" id="{335D0488-0AC8-4449-B632-B7BBBA9F3F81}"/>
              </a:ext>
            </a:extLst>
          </p:cNvPr>
          <p:cNvSpPr txBox="1"/>
          <p:nvPr/>
        </p:nvSpPr>
        <p:spPr>
          <a:xfrm>
            <a:off x="266882" y="3696490"/>
            <a:ext cx="4732714" cy="434991"/>
          </a:xfrm>
          <a:prstGeom prst="rect">
            <a:avLst/>
          </a:prstGeom>
          <a:noFill/>
          <a:ln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37000">
                  <a:srgbClr val="D9D9D9"/>
                </a:gs>
              </a:gsLst>
              <a:lin ang="16200000" scaled="1"/>
              <a:tileRect/>
            </a:gra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ts val="3000"/>
              </a:lnSpc>
              <a:defRPr sz="2400" b="1">
                <a:solidFill>
                  <a:srgbClr val="DE6C2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16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How</a:t>
            </a:r>
            <a:r>
              <a:rPr lang="pt-BR" sz="16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BR" sz="16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to</a:t>
            </a:r>
            <a:r>
              <a:rPr lang="pt-BR" sz="16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BR" sz="16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prevent</a:t>
            </a:r>
            <a:r>
              <a:rPr lang="pt-BR" sz="16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BR" sz="16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from</a:t>
            </a:r>
            <a:r>
              <a:rPr lang="pt-BR" sz="16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BR" sz="16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that</a:t>
            </a:r>
            <a:r>
              <a:rPr lang="pt-BR" sz="16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?</a:t>
            </a:r>
            <a:endParaRPr lang="pt-BR" sz="16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grpSp>
        <p:nvGrpSpPr>
          <p:cNvPr id="50" name="Agrupar 49"/>
          <p:cNvGrpSpPr/>
          <p:nvPr/>
        </p:nvGrpSpPr>
        <p:grpSpPr>
          <a:xfrm>
            <a:off x="963494" y="4644757"/>
            <a:ext cx="10265012" cy="1080000"/>
            <a:chOff x="657046" y="4644757"/>
            <a:chExt cx="10265012" cy="1080000"/>
          </a:xfrm>
        </p:grpSpPr>
        <p:sp>
          <p:nvSpPr>
            <p:cNvPr id="55" name="Retângulo 54">
              <a:extLst>
                <a:ext uri="{FF2B5EF4-FFF2-40B4-BE49-F238E27FC236}">
                  <a16:creationId xmlns:a16="http://schemas.microsoft.com/office/drawing/2014/main" id="{241D29C9-1858-4F39-98C5-BE3AF305C90F}"/>
                </a:ext>
              </a:extLst>
            </p:cNvPr>
            <p:cNvSpPr/>
            <p:nvPr/>
          </p:nvSpPr>
          <p:spPr>
            <a:xfrm>
              <a:off x="657046" y="4644757"/>
              <a:ext cx="4680000" cy="1080000"/>
            </a:xfrm>
            <a:prstGeom prst="rect">
              <a:avLst/>
            </a:prstGeom>
            <a:noFill/>
            <a:ln>
              <a:gradFill flip="none" rotWithShape="1">
                <a:gsLst>
                  <a:gs pos="0">
                    <a:schemeClr val="accent3">
                      <a:lumMod val="67000"/>
                    </a:schemeClr>
                  </a:gs>
                  <a:gs pos="100000">
                    <a:srgbClr val="D9D9D9"/>
                  </a:gs>
                </a:gsLst>
                <a:lin ang="16200000" scaled="1"/>
                <a:tileRect/>
              </a:gra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Improve </a:t>
              </a:r>
              <a:r>
                <a:rPr lang="en-US" sz="2000" b="1" dirty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performance of the marketing activities</a:t>
              </a:r>
              <a:endPara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6" name="Retângulo 55">
              <a:extLst>
                <a:ext uri="{FF2B5EF4-FFF2-40B4-BE49-F238E27FC236}">
                  <a16:creationId xmlns:a16="http://schemas.microsoft.com/office/drawing/2014/main" id="{241D29C9-1858-4F39-98C5-BE3AF305C90F}"/>
                </a:ext>
              </a:extLst>
            </p:cNvPr>
            <p:cNvSpPr/>
            <p:nvPr/>
          </p:nvSpPr>
          <p:spPr>
            <a:xfrm>
              <a:off x="6242058" y="4644757"/>
              <a:ext cx="4680000" cy="1080000"/>
            </a:xfrm>
            <a:prstGeom prst="rect">
              <a:avLst/>
            </a:prstGeom>
            <a:noFill/>
            <a:ln>
              <a:gradFill flip="none" rotWithShape="1">
                <a:gsLst>
                  <a:gs pos="0">
                    <a:schemeClr val="accent3">
                      <a:lumMod val="67000"/>
                    </a:schemeClr>
                  </a:gs>
                  <a:gs pos="100000">
                    <a:srgbClr val="D9D9D9"/>
                  </a:gs>
                </a:gsLst>
                <a:lin ang="16200000" scaled="1"/>
                <a:tileRect/>
              </a:gra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0" b="1" dirty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Focus </a:t>
              </a:r>
              <a:r>
                <a:rPr lang="pt-BR" sz="2000" b="1" dirty="0" err="1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on</a:t>
              </a:r>
              <a:r>
                <a:rPr lang="pt-BR" sz="2000" b="1" dirty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 marketing </a:t>
              </a:r>
              <a:r>
                <a:rPr lang="pt-BR" sz="2000" b="1" dirty="0" err="1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campaing</a:t>
              </a:r>
              <a:endPara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pic>
          <p:nvPicPr>
            <p:cNvPr id="47" name="Imagem 46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0648" y="5084812"/>
              <a:ext cx="442770" cy="4427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8966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3950D284-CC9A-4AB2-916A-A6C561CD6D73}"/>
              </a:ext>
            </a:extLst>
          </p:cNvPr>
          <p:cNvSpPr/>
          <p:nvPr/>
        </p:nvSpPr>
        <p:spPr>
          <a:xfrm>
            <a:off x="0" y="2857353"/>
            <a:ext cx="12222878" cy="40120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>
              <a:latin typeface="+mj-lt"/>
            </a:endParaRP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z="1600" dirty="0" smtClean="0"/>
              <a:t>CRM </a:t>
            </a:r>
            <a:r>
              <a:rPr lang="pt-BR" sz="1600" dirty="0" err="1" smtClean="0"/>
              <a:t>Analysis</a:t>
            </a:r>
            <a:endParaRPr lang="pt-BR" sz="1600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z="1400" smtClean="0">
                <a:latin typeface="+mj-lt"/>
              </a:rPr>
              <a:t>3</a:t>
            </a:fld>
            <a:endParaRPr lang="pt-BR" sz="1400" dirty="0">
              <a:latin typeface="+mj-lt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241D29C9-1858-4F39-98C5-BE3AF305C90F}"/>
              </a:ext>
            </a:extLst>
          </p:cNvPr>
          <p:cNvSpPr/>
          <p:nvPr/>
        </p:nvSpPr>
        <p:spPr>
          <a:xfrm>
            <a:off x="621672" y="4438793"/>
            <a:ext cx="4680000" cy="1080000"/>
          </a:xfrm>
          <a:prstGeom prst="rect">
            <a:avLst/>
          </a:prstGeom>
          <a:noFill/>
          <a:ln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100000">
                  <a:srgbClr val="D9D9D9"/>
                </a:gs>
              </a:gsLst>
              <a:lin ang="162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duce the highest profit for the next </a:t>
            </a:r>
            <a:r>
              <a:rPr lang="en-US" sz="20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ampaing</a:t>
            </a:r>
            <a:endParaRPr lang="pt-BR" sz="20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E0284650-F992-4B52-AEEE-B30F5D53A775}"/>
              </a:ext>
            </a:extLst>
          </p:cNvPr>
          <p:cNvSpPr/>
          <p:nvPr/>
        </p:nvSpPr>
        <p:spPr>
          <a:xfrm>
            <a:off x="6491943" y="3302057"/>
            <a:ext cx="4680000" cy="720000"/>
          </a:xfrm>
          <a:prstGeom prst="rect">
            <a:avLst/>
          </a:prstGeom>
          <a:noFill/>
          <a:ln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100000">
                  <a:srgbClr val="D9D9D9"/>
                </a:gs>
              </a:gsLst>
              <a:lin ang="162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Understand 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 characteristics 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f 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pondents</a:t>
            </a:r>
            <a:endParaRPr lang="pt-BR" sz="16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39D6918B-585E-4445-A6C5-68F61D8759A2}"/>
              </a:ext>
            </a:extLst>
          </p:cNvPr>
          <p:cNvSpPr/>
          <p:nvPr/>
        </p:nvSpPr>
        <p:spPr>
          <a:xfrm>
            <a:off x="6491943" y="4503401"/>
            <a:ext cx="4680000" cy="720000"/>
          </a:xfrm>
          <a:prstGeom prst="rect">
            <a:avLst/>
          </a:prstGeom>
          <a:noFill/>
          <a:ln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100000">
                  <a:srgbClr val="D9D9D9"/>
                </a:gs>
              </a:gsLst>
              <a:lin ang="162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6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egment</a:t>
            </a:r>
            <a:r>
              <a:rPr lang="pt-BR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pt-BR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</a:t>
            </a:r>
            <a:endParaRPr lang="pt-BR" sz="16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2C61DC31-D50B-4A3C-9501-43B9403B978A}"/>
              </a:ext>
            </a:extLst>
          </p:cNvPr>
          <p:cNvSpPr/>
          <p:nvPr/>
        </p:nvSpPr>
        <p:spPr>
          <a:xfrm>
            <a:off x="6491943" y="5704745"/>
            <a:ext cx="4680000" cy="720000"/>
          </a:xfrm>
          <a:prstGeom prst="rect">
            <a:avLst/>
          </a:prstGeom>
          <a:noFill/>
          <a:ln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100000">
                  <a:srgbClr val="D9D9D9"/>
                </a:gs>
              </a:gsLst>
              <a:lin ang="162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reate a predictive 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odel 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o classify the customers </a:t>
            </a:r>
            <a:endParaRPr lang="pt-BR" sz="16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2" name="Tabela 11">
            <a:extLst>
              <a:ext uri="{FF2B5EF4-FFF2-40B4-BE49-F238E27FC236}">
                <a16:creationId xmlns:a16="http://schemas.microsoft.com/office/drawing/2014/main" id="{CADC8CDF-AC99-4407-A16C-329AD2A72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172849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oblem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graphicFrame>
        <p:nvGraphicFramePr>
          <p:cNvPr id="16" name="Tabela 15">
            <a:extLst>
              <a:ext uri="{FF2B5EF4-FFF2-40B4-BE49-F238E27FC236}">
                <a16:creationId xmlns:a16="http://schemas.microsoft.com/office/drawing/2014/main" id="{4980507A-E8A4-490E-8588-1F4545ABDC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1607025"/>
              </p:ext>
            </p:extLst>
          </p:nvPr>
        </p:nvGraphicFramePr>
        <p:xfrm>
          <a:off x="325322" y="3146202"/>
          <a:ext cx="4574669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4669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oals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sp>
        <p:nvSpPr>
          <p:cNvPr id="25" name="Retângulo 2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730101" y="982740"/>
            <a:ext cx="3946455" cy="10373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pend annual </a:t>
            </a:r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udget more </a:t>
            </a:r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wisely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6515445" y="982740"/>
            <a:ext cx="3946455" cy="10373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ata-driven marketing activities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941694" y="877293"/>
            <a:ext cx="2127038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What Marketing Needs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6814141" y="877293"/>
            <a:ext cx="2127038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How</a:t>
            </a:r>
          </a:p>
        </p:txBody>
      </p:sp>
    </p:spTree>
    <p:extLst>
      <p:ext uri="{BB962C8B-B14F-4D97-AF65-F5344CB8AC3E}">
        <p14:creationId xmlns:p14="http://schemas.microsoft.com/office/powerpoint/2010/main" val="4259224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7" grpId="0" animBg="1"/>
      <p:bldP spid="37" grpId="0" animBg="1"/>
      <p:bldP spid="38" grpId="0" animBg="1"/>
      <p:bldP spid="3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4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300277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ethodology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grpSp>
        <p:nvGrpSpPr>
          <p:cNvPr id="6" name="Agrupar 5"/>
          <p:cNvGrpSpPr/>
          <p:nvPr/>
        </p:nvGrpSpPr>
        <p:grpSpPr>
          <a:xfrm>
            <a:off x="-160338" y="2368168"/>
            <a:ext cx="2403194" cy="2403194"/>
            <a:chOff x="4763774" y="2341681"/>
            <a:chExt cx="2403194" cy="2403194"/>
          </a:xfrm>
        </p:grpSpPr>
        <p:pic>
          <p:nvPicPr>
            <p:cNvPr id="20482" name="Picture 2" descr="https://static.thenounproject.com/png/2193104-200.png">
              <a:extLst>
                <a:ext uri="{FF2B5EF4-FFF2-40B4-BE49-F238E27FC236}">
                  <a16:creationId xmlns:a16="http://schemas.microsoft.com/office/drawing/2014/main" id="{A46AFB70-C165-4FE7-B155-92377AAC2C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774" y="2341681"/>
              <a:ext cx="2403194" cy="2403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CaixaDeTexto 1">
              <a:extLst>
                <a:ext uri="{FF2B5EF4-FFF2-40B4-BE49-F238E27FC236}">
                  <a16:creationId xmlns:a16="http://schemas.microsoft.com/office/drawing/2014/main" id="{52600679-5304-4481-99CA-98DFB73BEEE9}"/>
                </a:ext>
              </a:extLst>
            </p:cNvPr>
            <p:cNvSpPr txBox="1"/>
            <p:nvPr/>
          </p:nvSpPr>
          <p:spPr>
            <a:xfrm>
              <a:off x="5543268" y="2806965"/>
              <a:ext cx="84420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000" b="1" dirty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Data</a:t>
              </a:r>
            </a:p>
            <a:p>
              <a:pPr algn="ctr"/>
              <a:r>
                <a:rPr lang="pt-BR" sz="2000" b="1" dirty="0" err="1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Driven</a:t>
              </a:r>
              <a:endPara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BA352729-DC91-4B7F-82CB-5EF3077282FA}"/>
              </a:ext>
            </a:extLst>
          </p:cNvPr>
          <p:cNvSpPr/>
          <p:nvPr/>
        </p:nvSpPr>
        <p:spPr>
          <a:xfrm>
            <a:off x="2383471" y="2827611"/>
            <a:ext cx="2072455" cy="1253649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FM </a:t>
            </a:r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egmentation</a:t>
            </a:r>
            <a:r>
              <a: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20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echnique</a:t>
            </a:r>
            <a:endParaRPr lang="pt-BR" sz="20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44859CD9-FE34-40BF-80A3-B50511B127B9}"/>
              </a:ext>
            </a:extLst>
          </p:cNvPr>
          <p:cNvSpPr/>
          <p:nvPr/>
        </p:nvSpPr>
        <p:spPr>
          <a:xfrm>
            <a:off x="2383472" y="883859"/>
            <a:ext cx="2072455" cy="1253649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ata Exploratory Analysis</a:t>
            </a:r>
            <a:endParaRPr lang="en-US" sz="20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BF3796F5-D824-4457-B57E-247E5072A956}"/>
              </a:ext>
            </a:extLst>
          </p:cNvPr>
          <p:cNvSpPr/>
          <p:nvPr/>
        </p:nvSpPr>
        <p:spPr>
          <a:xfrm>
            <a:off x="2383470" y="4771362"/>
            <a:ext cx="2072455" cy="1253649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edictive</a:t>
            </a:r>
            <a:r>
              <a: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20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lassification</a:t>
            </a:r>
            <a:r>
              <a:rPr lang="pt-BR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2000" b="1" dirty="0" err="1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odels</a:t>
            </a:r>
            <a:endParaRPr lang="pt-BR" sz="2000" b="1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616464" y="1068651"/>
            <a:ext cx="2236670" cy="769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escriptive Statistic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6853134" y="1140231"/>
            <a:ext cx="2420742" cy="62599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ata Visualization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8934555" y="1212804"/>
            <a:ext cx="3155847" cy="5982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eatures Importance </a:t>
            </a:r>
          </a:p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Analysis – t statistics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150" y="2875644"/>
            <a:ext cx="360000" cy="360000"/>
          </a:xfrm>
          <a:prstGeom prst="rect">
            <a:avLst/>
          </a:prstGeom>
        </p:spPr>
      </p:pic>
      <p:sp>
        <p:nvSpPr>
          <p:cNvPr id="25" name="Retângulo 2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052603" y="3483647"/>
            <a:ext cx="1457237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 freshness of customer activity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052603" y="3237718"/>
            <a:ext cx="1457237" cy="3103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 -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cency</a:t>
            </a:r>
            <a:endParaRPr lang="en-US" sz="16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676" y="2884885"/>
            <a:ext cx="360000" cy="360000"/>
          </a:xfrm>
          <a:prstGeom prst="rect">
            <a:avLst/>
          </a:prstGeom>
        </p:spPr>
      </p:pic>
      <p:sp>
        <p:nvSpPr>
          <p:cNvPr id="31" name="Retângulo 3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414204" y="3236247"/>
            <a:ext cx="1457237" cy="3103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- Frequency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477318" y="3495285"/>
            <a:ext cx="1457237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 frequency of accepted offers</a:t>
            </a: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859158" y="3284644"/>
            <a:ext cx="1457237" cy="3103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 - Monetary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922272" y="3543682"/>
            <a:ext cx="1457237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e amount spent</a:t>
            </a: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202" y="2884885"/>
            <a:ext cx="360000" cy="360000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401" y="1273230"/>
            <a:ext cx="360000" cy="360000"/>
          </a:xfrm>
          <a:prstGeom prst="rect">
            <a:avLst/>
          </a:prstGeom>
        </p:spPr>
      </p:pic>
      <p:pic>
        <p:nvPicPr>
          <p:cNvPr id="39" name="Imagem 38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876" y="1273230"/>
            <a:ext cx="360000" cy="360000"/>
          </a:xfrm>
          <a:prstGeom prst="rect">
            <a:avLst/>
          </a:prstGeom>
        </p:spPr>
      </p:pic>
      <p:sp>
        <p:nvSpPr>
          <p:cNvPr id="40" name="Retângulo 3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687188" y="5086674"/>
            <a:ext cx="2236670" cy="769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lassification Techniques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6923858" y="5158254"/>
            <a:ext cx="2420742" cy="62599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alancing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echniques</a:t>
            </a:r>
            <a:endParaRPr lang="en-US" sz="16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005279" y="5230827"/>
            <a:ext cx="3155847" cy="5982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ross -Validation</a:t>
            </a:r>
          </a:p>
        </p:txBody>
      </p:sp>
      <p:pic>
        <p:nvPicPr>
          <p:cNvPr id="43" name="Imagem 42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125" y="5291253"/>
            <a:ext cx="360000" cy="360000"/>
          </a:xfrm>
          <a:prstGeom prst="rect">
            <a:avLst/>
          </a:prstGeom>
        </p:spPr>
      </p:pic>
      <p:pic>
        <p:nvPicPr>
          <p:cNvPr id="44" name="Imagem 43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7849" y="532490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828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5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00891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xploratory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alysis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pic>
        <p:nvPicPr>
          <p:cNvPr id="16" name="Imagem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3390" y="2612701"/>
            <a:ext cx="360000" cy="36000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24" t="10258" r="15620" b="14268"/>
          <a:stretch/>
        </p:blipFill>
        <p:spPr>
          <a:xfrm>
            <a:off x="1111225" y="2382886"/>
            <a:ext cx="348462" cy="36000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225" y="3922356"/>
            <a:ext cx="360000" cy="360000"/>
          </a:xfrm>
          <a:prstGeom prst="rect">
            <a:avLst/>
          </a:prstGeom>
        </p:spPr>
      </p:pic>
      <p:grpSp>
        <p:nvGrpSpPr>
          <p:cNvPr id="13" name="Agrupar 12"/>
          <p:cNvGrpSpPr/>
          <p:nvPr/>
        </p:nvGrpSpPr>
        <p:grpSpPr>
          <a:xfrm>
            <a:off x="1545882" y="2282365"/>
            <a:ext cx="1531870" cy="1015156"/>
            <a:chOff x="915239" y="1172709"/>
            <a:chExt cx="1531870" cy="1015156"/>
          </a:xfrm>
        </p:grpSpPr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34348277-6119-4B18-85F0-FF4E7190FADB}"/>
                </a:ext>
              </a:extLst>
            </p:cNvPr>
            <p:cNvSpPr/>
            <p:nvPr/>
          </p:nvSpPr>
          <p:spPr>
            <a:xfrm>
              <a:off x="926777" y="1434319"/>
              <a:ext cx="1520332" cy="753546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b="1" dirty="0" smtClean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of respondents are single</a:t>
              </a:r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915239" y="1172709"/>
              <a:ext cx="869149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800" b="1" dirty="0">
                  <a:solidFill>
                    <a:schemeClr val="tx2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32% </a:t>
              </a:r>
              <a:endParaRPr lang="en-US" sz="2800" dirty="0"/>
            </a:p>
          </p:txBody>
        </p:sp>
      </p:grpSp>
      <p:sp>
        <p:nvSpPr>
          <p:cNvPr id="35" name="Retângulo 3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567784" y="4200911"/>
            <a:ext cx="2125935" cy="8370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f non respondents are married or live together with someone else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1551650" y="3795162"/>
            <a:ext cx="1215362" cy="811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67% </a:t>
            </a:r>
            <a:endParaRPr lang="en-US" sz="2800" dirty="0"/>
          </a:p>
        </p:txBody>
      </p:sp>
      <p:grpSp>
        <p:nvGrpSpPr>
          <p:cNvPr id="18" name="Agrupar 17"/>
          <p:cNvGrpSpPr/>
          <p:nvPr/>
        </p:nvGrpSpPr>
        <p:grpSpPr>
          <a:xfrm>
            <a:off x="4698941" y="1519373"/>
            <a:ext cx="583865" cy="580405"/>
            <a:chOff x="331374" y="3784845"/>
            <a:chExt cx="583865" cy="580405"/>
          </a:xfrm>
        </p:grpSpPr>
        <p:pic>
          <p:nvPicPr>
            <p:cNvPr id="14" name="Imagem 13"/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68" t="27797" r="18453" b="31398"/>
            <a:stretch/>
          </p:blipFill>
          <p:spPr>
            <a:xfrm>
              <a:off x="331374" y="4005250"/>
              <a:ext cx="583865" cy="360000"/>
            </a:xfrm>
            <a:prstGeom prst="rect">
              <a:avLst/>
            </a:prstGeom>
          </p:spPr>
        </p:pic>
        <p:pic>
          <p:nvPicPr>
            <p:cNvPr id="17" name="Imagem 16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306" y="3784845"/>
              <a:ext cx="270000" cy="270000"/>
            </a:xfrm>
            <a:prstGeom prst="rect">
              <a:avLst/>
            </a:prstGeom>
          </p:spPr>
        </p:pic>
      </p:grpSp>
      <p:sp>
        <p:nvSpPr>
          <p:cNvPr id="47" name="Retângulo 4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304708" y="1949069"/>
            <a:ext cx="2125935" cy="11869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s the difference between the median of the respondents and non respondents incomes</a:t>
            </a:r>
          </a:p>
        </p:txBody>
      </p:sp>
      <p:sp>
        <p:nvSpPr>
          <p:cNvPr id="48" name="Retângulo 47"/>
          <p:cNvSpPr/>
          <p:nvPr/>
        </p:nvSpPr>
        <p:spPr>
          <a:xfrm>
            <a:off x="5288574" y="1482357"/>
            <a:ext cx="86914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8% </a:t>
            </a:r>
            <a:endParaRPr lang="en-US" sz="2800" dirty="0"/>
          </a:p>
        </p:txBody>
      </p:sp>
      <p:pic>
        <p:nvPicPr>
          <p:cNvPr id="23" name="Imagem 22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941" y="3504390"/>
            <a:ext cx="540000" cy="540000"/>
          </a:xfrm>
          <a:prstGeom prst="rect">
            <a:avLst/>
          </a:prstGeom>
        </p:spPr>
      </p:pic>
      <p:sp>
        <p:nvSpPr>
          <p:cNvPr id="51" name="Retângulo 5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304708" y="3698490"/>
            <a:ext cx="2125935" cy="11869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 respondents have already responded to previous campaigns</a:t>
            </a:r>
          </a:p>
        </p:txBody>
      </p:sp>
      <p:sp>
        <p:nvSpPr>
          <p:cNvPr id="52" name="Retângulo 51"/>
          <p:cNvSpPr/>
          <p:nvPr/>
        </p:nvSpPr>
        <p:spPr>
          <a:xfrm>
            <a:off x="5288574" y="3510457"/>
            <a:ext cx="86914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56% </a:t>
            </a:r>
            <a:endParaRPr lang="en-US" sz="2800" dirty="0"/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5304708" y="4849435"/>
            <a:ext cx="2125935" cy="11869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 non respondents have never responded to previous campaigns</a:t>
            </a:r>
          </a:p>
        </p:txBody>
      </p:sp>
      <p:sp>
        <p:nvSpPr>
          <p:cNvPr id="58" name="Retângulo 57"/>
          <p:cNvSpPr/>
          <p:nvPr/>
        </p:nvSpPr>
        <p:spPr>
          <a:xfrm>
            <a:off x="5288574" y="4626572"/>
            <a:ext cx="86914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86% </a:t>
            </a:r>
            <a:endParaRPr lang="en-US" sz="2800" dirty="0"/>
          </a:p>
        </p:txBody>
      </p:sp>
      <p:pic>
        <p:nvPicPr>
          <p:cNvPr id="27" name="Imagem 26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189" y="2494361"/>
            <a:ext cx="540000" cy="540000"/>
          </a:xfrm>
          <a:prstGeom prst="rect">
            <a:avLst/>
          </a:prstGeom>
        </p:spPr>
      </p:pic>
      <p:sp>
        <p:nvSpPr>
          <p:cNvPr id="59" name="Retângulo 5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041632" y="2287419"/>
            <a:ext cx="2125935" cy="11869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pondents have bigger time enrollments with the company</a:t>
            </a:r>
          </a:p>
        </p:txBody>
      </p:sp>
      <p:grpSp>
        <p:nvGrpSpPr>
          <p:cNvPr id="29" name="Agrupar 28"/>
          <p:cNvGrpSpPr/>
          <p:nvPr/>
        </p:nvGrpSpPr>
        <p:grpSpPr>
          <a:xfrm>
            <a:off x="8430189" y="3979618"/>
            <a:ext cx="578288" cy="540000"/>
            <a:chOff x="8430189" y="3979618"/>
            <a:chExt cx="578288" cy="540000"/>
          </a:xfrm>
        </p:grpSpPr>
        <p:pic>
          <p:nvPicPr>
            <p:cNvPr id="60" name="Imagem 59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30189" y="3979618"/>
              <a:ext cx="540000" cy="540000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8477" y="3979618"/>
              <a:ext cx="270000" cy="270000"/>
            </a:xfrm>
            <a:prstGeom prst="rect">
              <a:avLst/>
            </a:prstGeom>
          </p:spPr>
        </p:pic>
      </p:grpSp>
      <p:sp>
        <p:nvSpPr>
          <p:cNvPr id="62" name="Retângulo 6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041631" y="3795512"/>
            <a:ext cx="2125935" cy="118691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pondents have expenses considerably bigger for all products</a:t>
            </a:r>
          </a:p>
        </p:txBody>
      </p:sp>
    </p:spTree>
    <p:extLst>
      <p:ext uri="{BB962C8B-B14F-4D97-AF65-F5344CB8AC3E}">
        <p14:creationId xmlns:p14="http://schemas.microsoft.com/office/powerpoint/2010/main" val="332426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28">
            <a:extLst>
              <a:ext uri="{FF2B5EF4-FFF2-40B4-BE49-F238E27FC236}">
                <a16:creationId xmlns:a16="http://schemas.microsoft.com/office/drawing/2014/main" id="{663FDDA5-CEF6-43EE-ADEA-6048BB60B7CB}"/>
              </a:ext>
            </a:extLst>
          </p:cNvPr>
          <p:cNvSpPr/>
          <p:nvPr/>
        </p:nvSpPr>
        <p:spPr>
          <a:xfrm>
            <a:off x="6485266" y="0"/>
            <a:ext cx="5737612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6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00891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xploratory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alysis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26" t="8854" r="17104"/>
          <a:stretch/>
        </p:blipFill>
        <p:spPr>
          <a:xfrm>
            <a:off x="470263" y="576398"/>
            <a:ext cx="5268130" cy="4792605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1377721" y="5509987"/>
            <a:ext cx="435429" cy="18288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tângulo 31"/>
          <p:cNvSpPr/>
          <p:nvPr/>
        </p:nvSpPr>
        <p:spPr>
          <a:xfrm>
            <a:off x="1377720" y="5820558"/>
            <a:ext cx="435429" cy="18288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770323" y="5391055"/>
            <a:ext cx="1628994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ositive correlation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1829369" y="5656434"/>
            <a:ext cx="1628994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egative correlation</a:t>
            </a:r>
          </a:p>
        </p:txBody>
      </p:sp>
      <p:sp>
        <p:nvSpPr>
          <p:cNvPr id="9" name="Elipse 8"/>
          <p:cNvSpPr/>
          <p:nvPr/>
        </p:nvSpPr>
        <p:spPr>
          <a:xfrm>
            <a:off x="3831775" y="5868655"/>
            <a:ext cx="78377" cy="8091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Elipse 35"/>
          <p:cNvSpPr/>
          <p:nvPr/>
        </p:nvSpPr>
        <p:spPr>
          <a:xfrm>
            <a:off x="3768637" y="5527651"/>
            <a:ext cx="204651" cy="19023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024382" y="5395150"/>
            <a:ext cx="1628994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High correlation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005800" y="5678329"/>
            <a:ext cx="1628994" cy="4615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ow correlation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5" y="1915014"/>
            <a:ext cx="2923581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ome x Spent with any product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6" y="2250506"/>
            <a:ext cx="2923581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ome x Number of Web Visits</a:t>
            </a:r>
          </a:p>
        </p:txBody>
      </p:sp>
      <p:sp>
        <p:nvSpPr>
          <p:cNvPr id="43" name="Retângulo 42"/>
          <p:cNvSpPr/>
          <p:nvPr/>
        </p:nvSpPr>
        <p:spPr>
          <a:xfrm>
            <a:off x="6717685" y="1699360"/>
            <a:ext cx="435429" cy="18288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tângulo 43"/>
          <p:cNvSpPr/>
          <p:nvPr/>
        </p:nvSpPr>
        <p:spPr>
          <a:xfrm>
            <a:off x="6717686" y="2364266"/>
            <a:ext cx="435429" cy="18288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tângulo 44"/>
          <p:cNvSpPr/>
          <p:nvPr/>
        </p:nvSpPr>
        <p:spPr>
          <a:xfrm>
            <a:off x="6722199" y="2698984"/>
            <a:ext cx="435429" cy="18288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9349" y="2585224"/>
            <a:ext cx="3126641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ome x Numbers of Kids at home</a:t>
            </a:r>
          </a:p>
        </p:txBody>
      </p:sp>
      <p:sp>
        <p:nvSpPr>
          <p:cNvPr id="49" name="Retângulo 48"/>
          <p:cNvSpPr/>
          <p:nvPr/>
        </p:nvSpPr>
        <p:spPr>
          <a:xfrm>
            <a:off x="6717686" y="2032568"/>
            <a:ext cx="435429" cy="18288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4" y="3429000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urchase from Catalog/Store 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x Number of Web 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Visits </a:t>
            </a:r>
          </a:p>
        </p:txBody>
      </p:sp>
      <p:sp>
        <p:nvSpPr>
          <p:cNvPr id="54" name="Retângulo 53"/>
          <p:cNvSpPr/>
          <p:nvPr/>
        </p:nvSpPr>
        <p:spPr>
          <a:xfrm>
            <a:off x="6722199" y="3525791"/>
            <a:ext cx="435429" cy="18288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4" y="1577328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ome x Number 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f </a:t>
            </a:r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accepted </a:t>
            </a:r>
            <a:r>
              <a:rPr lang="en-US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ampaings</a:t>
            </a:r>
            <a:endParaRPr lang="en-US" sz="16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6" name="Retângulo 55"/>
          <p:cNvSpPr/>
          <p:nvPr/>
        </p:nvSpPr>
        <p:spPr>
          <a:xfrm>
            <a:off x="6717685" y="4230805"/>
            <a:ext cx="435429" cy="18288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3" y="4108773"/>
            <a:ext cx="4760825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pent with Wine x Accepted offers in previous campaign</a:t>
            </a:r>
          </a:p>
        </p:txBody>
      </p:sp>
      <p:sp>
        <p:nvSpPr>
          <p:cNvPr id="63" name="Retângulo 62"/>
          <p:cNvSpPr/>
          <p:nvPr/>
        </p:nvSpPr>
        <p:spPr>
          <a:xfrm>
            <a:off x="6717685" y="5003494"/>
            <a:ext cx="435429" cy="18288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tângulo 6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3" y="4881462"/>
            <a:ext cx="4760825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urchase with discount x Number of Web  Visits</a:t>
            </a:r>
          </a:p>
        </p:txBody>
      </p:sp>
      <p:sp>
        <p:nvSpPr>
          <p:cNvPr id="65" name="Retângulo 64"/>
          <p:cNvSpPr/>
          <p:nvPr/>
        </p:nvSpPr>
        <p:spPr>
          <a:xfrm>
            <a:off x="6717685" y="5397193"/>
            <a:ext cx="435429" cy="18288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264833" y="5275161"/>
            <a:ext cx="4760825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urchase with discount x Kids/Teenagers at home</a:t>
            </a:r>
          </a:p>
        </p:txBody>
      </p:sp>
    </p:spTree>
    <p:extLst>
      <p:ext uri="{BB962C8B-B14F-4D97-AF65-F5344CB8AC3E}">
        <p14:creationId xmlns:p14="http://schemas.microsoft.com/office/powerpoint/2010/main" val="1443513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40" grpId="0"/>
      <p:bldP spid="42" grpId="0"/>
      <p:bldP spid="43" grpId="0" animBg="1"/>
      <p:bldP spid="44" grpId="0" animBg="1"/>
      <p:bldP spid="45" grpId="0" animBg="1"/>
      <p:bldP spid="46" grpId="0"/>
      <p:bldP spid="49" grpId="0" animBg="1"/>
      <p:bldP spid="50" grpId="0"/>
      <p:bldP spid="54" grpId="0" animBg="1"/>
      <p:bldP spid="55" grpId="0"/>
      <p:bldP spid="56" grpId="0" animBg="1"/>
      <p:bldP spid="61" grpId="0"/>
      <p:bldP spid="63" grpId="0" animBg="1"/>
      <p:bldP spid="64" grpId="0"/>
      <p:bldP spid="65" grpId="0" animBg="1"/>
      <p:bldP spid="6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tângulo 42">
            <a:extLst>
              <a:ext uri="{FF2B5EF4-FFF2-40B4-BE49-F238E27FC236}">
                <a16:creationId xmlns:a16="http://schemas.microsoft.com/office/drawing/2014/main" id="{663FDDA5-CEF6-43EE-ADEA-6048BB60B7CB}"/>
              </a:ext>
            </a:extLst>
          </p:cNvPr>
          <p:cNvSpPr/>
          <p:nvPr/>
        </p:nvSpPr>
        <p:spPr>
          <a:xfrm>
            <a:off x="7588482" y="0"/>
            <a:ext cx="4634396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7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xploratory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alysis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sp>
        <p:nvSpPr>
          <p:cNvPr id="12" name="Retângulo 11"/>
          <p:cNvSpPr/>
          <p:nvPr/>
        </p:nvSpPr>
        <p:spPr>
          <a:xfrm>
            <a:off x="650165" y="3275617"/>
            <a:ext cx="1785257" cy="1375954"/>
          </a:xfrm>
          <a:prstGeom prst="rect">
            <a:avLst/>
          </a:prstGeom>
          <a:noFill/>
          <a:ln>
            <a:gradFill flip="none" rotWithShape="1"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tx1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tângulo 33"/>
          <p:cNvSpPr/>
          <p:nvPr/>
        </p:nvSpPr>
        <p:spPr>
          <a:xfrm>
            <a:off x="2435422" y="2675843"/>
            <a:ext cx="1785257" cy="1975728"/>
          </a:xfrm>
          <a:prstGeom prst="rect">
            <a:avLst/>
          </a:prstGeom>
          <a:noFill/>
          <a:ln>
            <a:gradFill flip="none" rotWithShape="1"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tx1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tângulo 35"/>
          <p:cNvSpPr/>
          <p:nvPr/>
        </p:nvSpPr>
        <p:spPr>
          <a:xfrm>
            <a:off x="4220679" y="3857798"/>
            <a:ext cx="1785257" cy="987864"/>
          </a:xfrm>
          <a:prstGeom prst="rect">
            <a:avLst/>
          </a:prstGeom>
          <a:noFill/>
          <a:ln>
            <a:gradFill flip="none" rotWithShape="1"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tx1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05375" y="2147868"/>
            <a:ext cx="1245349" cy="439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cency</a:t>
            </a:r>
            <a:endParaRPr lang="en-US" sz="20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840645" y="2756228"/>
            <a:ext cx="1404295" cy="439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nrollment</a:t>
            </a:r>
            <a:r>
              <a:rPr lang="pt-BR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Time</a:t>
            </a:r>
            <a:endParaRPr lang="en-US" sz="20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264590" y="3275617"/>
            <a:ext cx="1741346" cy="439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ponse for 1st </a:t>
            </a:r>
            <a:r>
              <a:rPr lang="pt-BR" sz="20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ampaing</a:t>
            </a:r>
            <a:endParaRPr lang="en-US" sz="20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42" name="Tabela 41">
            <a:extLst>
              <a:ext uri="{FF2B5EF4-FFF2-40B4-BE49-F238E27FC236}">
                <a16:creationId xmlns:a16="http://schemas.microsoft.com/office/drawing/2014/main" id="{4980507A-E8A4-490E-8588-1F4545ABDC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563145"/>
              </p:ext>
            </p:extLst>
          </p:nvPr>
        </p:nvGraphicFramePr>
        <p:xfrm>
          <a:off x="439251" y="1147846"/>
          <a:ext cx="4574669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4669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anking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mportance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Response</a:t>
                      </a:r>
                      <a:r>
                        <a:rPr lang="pt-BR" sz="18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sp>
        <p:nvSpPr>
          <p:cNvPr id="44" name="Retângulo 4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73874" y="2149997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ponse for others campaigns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2616205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ital Status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3082413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urchases from Store</a:t>
            </a: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3618418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urchases with discount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4176888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pent with Fruits and Meat and Gold Products</a:t>
            </a:r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659344" y="4241133"/>
            <a:ext cx="1245349" cy="439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1º</a:t>
            </a: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920119" y="4222476"/>
            <a:ext cx="1245349" cy="439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</a:t>
            </a:r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º</a:t>
            </a: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86530" y="4274473"/>
            <a:ext cx="1245349" cy="439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º</a:t>
            </a:r>
          </a:p>
        </p:txBody>
      </p:sp>
      <p:sp>
        <p:nvSpPr>
          <p:cNvPr id="63" name="Retângulo 62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783392" y="1659335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600" b="1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Worth mentioning </a:t>
            </a:r>
            <a:endParaRPr lang="en-US" sz="16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811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/>
      <p:bldP spid="45" grpId="0"/>
      <p:bldP spid="46" grpId="0"/>
      <p:bldP spid="50" grpId="0"/>
      <p:bldP spid="53" grpId="0"/>
      <p:bldP spid="6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8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506242"/>
              </p:ext>
            </p:extLst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FM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egmentation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echnique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pic>
        <p:nvPicPr>
          <p:cNvPr id="16" name="Imagem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3390" y="2612701"/>
            <a:ext cx="360000" cy="360000"/>
          </a:xfrm>
          <a:prstGeom prst="rect">
            <a:avLst/>
          </a:prstGeom>
        </p:spPr>
      </p:pic>
      <p:sp>
        <p:nvSpPr>
          <p:cNvPr id="59" name="Retângulo 5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32659" y="1153727"/>
            <a:ext cx="983977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re</a:t>
            </a:r>
          </a:p>
        </p:txBody>
      </p:sp>
      <p:sp>
        <p:nvSpPr>
          <p:cNvPr id="62" name="Retângulo 6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76211" y="1023528"/>
            <a:ext cx="6426927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pondents have expenses considerably bigger for all product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553" y="946694"/>
            <a:ext cx="720000" cy="72000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553" y="1807263"/>
            <a:ext cx="720000" cy="7200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553" y="2667832"/>
            <a:ext cx="720000" cy="72000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553" y="3528401"/>
            <a:ext cx="720000" cy="7200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553" y="4388970"/>
            <a:ext cx="720000" cy="720000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553" y="5249537"/>
            <a:ext cx="720000" cy="720000"/>
          </a:xfrm>
          <a:prstGeom prst="rect">
            <a:avLst/>
          </a:prstGeom>
        </p:spPr>
      </p:pic>
      <p:sp>
        <p:nvSpPr>
          <p:cNvPr id="36" name="Retângulo 35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32659" y="2024265"/>
            <a:ext cx="983977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oyal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32659" y="2894803"/>
            <a:ext cx="1342958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Whales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32659" y="3765341"/>
            <a:ext cx="1700009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mising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32659" y="4635879"/>
            <a:ext cx="1700009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ookies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2732659" y="5506417"/>
            <a:ext cx="1700009" cy="27960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lipping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76211" y="1890945"/>
            <a:ext cx="6426927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 who buy the most often from your company</a:t>
            </a: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76211" y="2758362"/>
            <a:ext cx="6426927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 who have generated the most revenue for your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76211" y="3625779"/>
            <a:ext cx="6426927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 who return often, but do not spend a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76211" y="4493196"/>
            <a:ext cx="6426927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irst time buyers on your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ite</a:t>
            </a:r>
            <a:endParaRPr lang="en-US" dirty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4476211" y="5360612"/>
            <a:ext cx="6426927" cy="540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Great past customers who haven't bought in awhile.</a:t>
            </a:r>
          </a:p>
        </p:txBody>
      </p:sp>
    </p:spTree>
    <p:extLst>
      <p:ext uri="{BB962C8B-B14F-4D97-AF65-F5344CB8AC3E}">
        <p14:creationId xmlns:p14="http://schemas.microsoft.com/office/powerpoint/2010/main" val="1487233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B512BCE-18FE-468E-BF8F-7060EE8F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CRM </a:t>
            </a:r>
            <a:r>
              <a:rPr lang="pt-BR" dirty="0" err="1" smtClean="0"/>
              <a:t>Analysis</a:t>
            </a:r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A8AA42D-B563-46CC-B0E5-AE36DAB2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9D9466-5E2C-4009-B7F5-186A6D1DC05B}" type="slidenum">
              <a:rPr lang="pt-BR" smtClean="0">
                <a:latin typeface="+mj-lt"/>
              </a:rPr>
              <a:t>9</a:t>
            </a:fld>
            <a:endParaRPr lang="pt-BR" dirty="0">
              <a:latin typeface="+mj-lt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912D90C2-2A2E-4BA1-BADA-6E6471D3EF9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8000" y="106953"/>
          <a:ext cx="7200000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000">
                  <a:extLst>
                    <a:ext uri="{9D8B030D-6E8A-4147-A177-3AD203B41FA5}">
                      <a16:colId xmlns:a16="http://schemas.microsoft.com/office/drawing/2014/main" val="3403959869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FM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egmentation</a:t>
                      </a:r>
                      <a:r>
                        <a:rPr lang="pt-BR" sz="18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800" b="1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echnique</a:t>
                      </a:r>
                      <a:endParaRPr lang="pt-BR" sz="18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585453"/>
                  </a:ext>
                </a:extLst>
              </a:tr>
            </a:tbl>
          </a:graphicData>
        </a:graphic>
      </p:graphicFrame>
      <p:pic>
        <p:nvPicPr>
          <p:cNvPr id="16" name="Imagem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3390" y="2612701"/>
            <a:ext cx="360000" cy="36000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>
            <a:clrChange>
              <a:clrFrom>
                <a:srgbClr val="EBEBEB"/>
              </a:clrFrom>
              <a:clrTo>
                <a:srgbClr val="EBEB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816" y="1001485"/>
            <a:ext cx="5138058" cy="5216434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663FDDA5-CEF6-43EE-ADEA-6048BB60B7CB}"/>
              </a:ext>
            </a:extLst>
          </p:cNvPr>
          <p:cNvSpPr/>
          <p:nvPr/>
        </p:nvSpPr>
        <p:spPr>
          <a:xfrm>
            <a:off x="7588482" y="0"/>
            <a:ext cx="4634396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73874" y="2324168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duct recommendations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2790376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entives 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ied to spending thresholds</a:t>
            </a:r>
            <a:endParaRPr lang="en-US" sz="1600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783392" y="3268918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or Slipping Customers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3792589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ocus on retention strategies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993904" y="4351059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eal offers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34348277-6119-4B18-85F0-FF4E7190FADB}"/>
              </a:ext>
            </a:extLst>
          </p:cNvPr>
          <p:cNvSpPr/>
          <p:nvPr/>
        </p:nvSpPr>
        <p:spPr>
          <a:xfrm>
            <a:off x="7783392" y="1833506"/>
            <a:ext cx="4439486" cy="410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or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mising</a:t>
            </a:r>
            <a:r>
              <a:rPr lang="pt-BR" sz="1600" b="1" dirty="0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BR" sz="16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ustomers</a:t>
            </a:r>
            <a:endParaRPr lang="en-US" sz="1600" b="1" dirty="0" smtClean="0">
              <a:solidFill>
                <a:schemeClr val="tx2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22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80</TotalTime>
  <Words>692</Words>
  <Application>Microsoft Office PowerPoint</Application>
  <PresentationFormat>Widescreen</PresentationFormat>
  <Paragraphs>170</Paragraphs>
  <Slides>12</Slides>
  <Notes>1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Cambria Math</vt:lpstr>
      <vt:lpstr>1_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aniely Lima Silva</dc:creator>
  <cp:lastModifiedBy>Janaina Figueira Marchesi</cp:lastModifiedBy>
  <cp:revision>545</cp:revision>
  <dcterms:created xsi:type="dcterms:W3CDTF">2018-09-10T15:48:31Z</dcterms:created>
  <dcterms:modified xsi:type="dcterms:W3CDTF">2020-12-12T22:25:34Z</dcterms:modified>
</cp:coreProperties>
</file>